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29-4D61-83FF-3E495448E3ED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29-4D61-83FF-3E495448E3ED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729-4D61-83FF-3E495448E3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Neue Haas Unica"/>
                    <a:cs typeface="Neue Haas Unica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8</c:v>
                </c:pt>
                <c:pt idx="1">
                  <c:v>20</c:v>
                </c:pt>
                <c:pt idx="2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729-4D61-83FF-3E495448E3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962332100332906E-2"/>
          <c:w val="1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A90-4847-9B9A-93502F0480D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A90-4847-9B9A-93502F0480D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A90-4847-9B9A-93502F0480D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A90-4847-9B9A-93502F0480D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A90-4847-9B9A-93502F0480D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A90-4847-9B9A-93502F0480D4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-20</c:v>
                </c:pt>
                <c:pt idx="1">
                  <c:v>-15</c:v>
                </c:pt>
                <c:pt idx="2">
                  <c:v>-12</c:v>
                </c:pt>
                <c:pt idx="3">
                  <c:v>-10</c:v>
                </c:pt>
                <c:pt idx="4">
                  <c:v>-6</c:v>
                </c:pt>
                <c:pt idx="5">
                  <c:v>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A90-4847-9B9A-93502F0480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high"/>
        <c:crossAx val="586954800"/>
        <c:crosses val="autoZero"/>
        <c:auto val="1"/>
        <c:lblAlgn val="ctr"/>
        <c:lblOffset val="200"/>
        <c:noMultiLvlLbl val="0"/>
      </c:catAx>
      <c:valAx>
        <c:axId val="586954800"/>
        <c:scaling>
          <c:orientation val="minMax"/>
          <c:max val="0"/>
        </c:scaling>
        <c:delete val="1"/>
        <c:axPos val="b"/>
        <c:numFmt formatCode="General" sourceLinked="1"/>
        <c:majorTickMark val="none"/>
        <c:minorTickMark val="none"/>
        <c:tickLblPos val="low"/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814138479925315E-2"/>
          <c:y val="3.2962332100332906E-2"/>
          <c:w val="0.9781858615200747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9B-49AB-841F-C54BF62CEE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9B-49AB-841F-C54BF62CEE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49B-49AB-841F-C54BF62CEE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49B-49AB-841F-C54BF62CEE4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49B-49AB-841F-C54BF62CEE4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49B-49AB-841F-C54BF62CEE43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15</c:v>
                </c:pt>
                <c:pt idx="2">
                  <c:v>12</c:v>
                </c:pt>
                <c:pt idx="3">
                  <c:v>10</c:v>
                </c:pt>
                <c:pt idx="4">
                  <c:v>6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49B-49AB-841F-C54BF62CEE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4800"/>
        <c:crosses val="autoZero"/>
        <c:auto val="1"/>
        <c:lblAlgn val="ctr"/>
        <c:lblOffset val="100"/>
        <c:noMultiLvlLbl val="0"/>
      </c:catAx>
      <c:valAx>
        <c:axId val="586954800"/>
        <c:scaling>
          <c:orientation val="minMax"/>
          <c:max val="2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FA786-8EDC-6526-8030-FC3DC5C6F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02CA7F9-FB67-3E74-CCB0-86A217478A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2CA7F9-FB67-3E74-CCB0-86A217478A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04FCF4-C724-458F-F656-DCBF50D8C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e / 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CFC6B49-7485-3EE3-D16F-0E13D5ABEAC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42" name="Chart 241">
            <a:extLst>
              <a:ext uri="{FF2B5EF4-FFF2-40B4-BE49-F238E27FC236}">
                <a16:creationId xmlns:a16="http://schemas.microsoft.com/office/drawing/2014/main" id="{00E560FA-23BD-4F6A-B2C1-AAAE79DD2329}"/>
              </a:ext>
            </a:extLst>
          </p:cNvPr>
          <p:cNvGraphicFramePr>
            <a:graphicFrameLocks/>
          </p:cNvGraphicFramePr>
          <p:nvPr/>
        </p:nvGraphicFramePr>
        <p:xfrm>
          <a:off x="837332" y="2037129"/>
          <a:ext cx="4721520" cy="3503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43" name="Chart 242">
            <a:extLst>
              <a:ext uri="{FF2B5EF4-FFF2-40B4-BE49-F238E27FC236}">
                <a16:creationId xmlns:a16="http://schemas.microsoft.com/office/drawing/2014/main" id="{57094100-E9B0-4DE4-A29F-0B36823A3E26}"/>
              </a:ext>
            </a:extLst>
          </p:cNvPr>
          <p:cNvGraphicFramePr>
            <a:graphicFrameLocks/>
          </p:cNvGraphicFramePr>
          <p:nvPr/>
        </p:nvGraphicFramePr>
        <p:xfrm>
          <a:off x="5351604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4" name="Chart 243">
            <a:extLst>
              <a:ext uri="{FF2B5EF4-FFF2-40B4-BE49-F238E27FC236}">
                <a16:creationId xmlns:a16="http://schemas.microsoft.com/office/drawing/2014/main" id="{8CF92108-1D03-4167-9BCA-953FE29441E4}"/>
              </a:ext>
            </a:extLst>
          </p:cNvPr>
          <p:cNvGraphicFramePr>
            <a:graphicFrameLocks/>
          </p:cNvGraphicFramePr>
          <p:nvPr/>
        </p:nvGraphicFramePr>
        <p:xfrm>
          <a:off x="8837531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5" name="Rectangle 244">
            <a:extLst>
              <a:ext uri="{FF2B5EF4-FFF2-40B4-BE49-F238E27FC236}">
                <a16:creationId xmlns:a16="http://schemas.microsoft.com/office/drawing/2014/main" id="{DDCB2B55-238B-4570-B8E2-1E98B8501B7E}"/>
              </a:ext>
            </a:extLst>
          </p:cNvPr>
          <p:cNvSpPr/>
          <p:nvPr/>
        </p:nvSpPr>
        <p:spPr>
          <a:xfrm>
            <a:off x="7942168" y="1811102"/>
            <a:ext cx="971991" cy="35710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rgbClr val="FFFFFF"/>
              </a:solidFill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2838F579-7A93-4BBC-BB5E-735DC46E1122}"/>
              </a:ext>
            </a:extLst>
          </p:cNvPr>
          <p:cNvSpPr/>
          <p:nvPr/>
        </p:nvSpPr>
        <p:spPr>
          <a:xfrm>
            <a:off x="7942168" y="1672757"/>
            <a:ext cx="971991" cy="36656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chemeClr val="tx1"/>
              </a:solidFill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824CF091-9438-4F2A-8686-1A990AB5C010}"/>
              </a:ext>
            </a:extLst>
          </p:cNvPr>
          <p:cNvSpPr txBox="1"/>
          <p:nvPr/>
        </p:nvSpPr>
        <p:spPr>
          <a:xfrm>
            <a:off x="8105003" y="2037129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4EBF628F-AC5C-4470-8A57-1E0DE20E8C8A}"/>
              </a:ext>
            </a:extLst>
          </p:cNvPr>
          <p:cNvSpPr txBox="1"/>
          <p:nvPr/>
        </p:nvSpPr>
        <p:spPr>
          <a:xfrm>
            <a:off x="8105003" y="2691238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643D7CC4-0233-4DEC-80FF-92286EFE6748}"/>
              </a:ext>
            </a:extLst>
          </p:cNvPr>
          <p:cNvSpPr txBox="1"/>
          <p:nvPr/>
        </p:nvSpPr>
        <p:spPr>
          <a:xfrm>
            <a:off x="8105003" y="3345347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A07D6F1D-3FE0-4850-BC26-E9B1AF07F726}"/>
              </a:ext>
            </a:extLst>
          </p:cNvPr>
          <p:cNvSpPr txBox="1"/>
          <p:nvPr/>
        </p:nvSpPr>
        <p:spPr>
          <a:xfrm>
            <a:off x="8105003" y="3999456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CB1B3362-C37C-4051-B155-9BCB0BE3C6BE}"/>
              </a:ext>
            </a:extLst>
          </p:cNvPr>
          <p:cNvSpPr txBox="1"/>
          <p:nvPr/>
        </p:nvSpPr>
        <p:spPr>
          <a:xfrm>
            <a:off x="8105003" y="4653565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A3CB2011-B402-441B-92A1-F59B6F62E6EF}"/>
              </a:ext>
            </a:extLst>
          </p:cNvPr>
          <p:cNvSpPr txBox="1"/>
          <p:nvPr/>
        </p:nvSpPr>
        <p:spPr>
          <a:xfrm>
            <a:off x="8105003" y="5307674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7CE0558F-BEAD-478C-876E-D7581C9C7B6C}"/>
              </a:ext>
            </a:extLst>
          </p:cNvPr>
          <p:cNvSpPr txBox="1"/>
          <p:nvPr/>
        </p:nvSpPr>
        <p:spPr>
          <a:xfrm>
            <a:off x="5351604" y="1229568"/>
            <a:ext cx="6153114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552FA4BA-A9E9-4238-A3F1-AC53A10CF537}"/>
              </a:ext>
            </a:extLst>
          </p:cNvPr>
          <p:cNvSpPr txBox="1"/>
          <p:nvPr/>
        </p:nvSpPr>
        <p:spPr>
          <a:xfrm>
            <a:off x="837332" y="1229568"/>
            <a:ext cx="4303419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5" name="Freeform: Shape 254">
            <a:extLst>
              <a:ext uri="{FF2B5EF4-FFF2-40B4-BE49-F238E27FC236}">
                <a16:creationId xmlns:a16="http://schemas.microsoft.com/office/drawing/2014/main" id="{FD7AA224-1137-457A-A0DE-A06FB937E8A0}"/>
              </a:ext>
            </a:extLst>
          </p:cNvPr>
          <p:cNvSpPr>
            <a:spLocks/>
          </p:cNvSpPr>
          <p:nvPr/>
        </p:nvSpPr>
        <p:spPr>
          <a:xfrm>
            <a:off x="837332" y="1583596"/>
            <a:ext cx="4303419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  <p:sp>
        <p:nvSpPr>
          <p:cNvPr id="256" name="Freeform: Shape 255">
            <a:extLst>
              <a:ext uri="{FF2B5EF4-FFF2-40B4-BE49-F238E27FC236}">
                <a16:creationId xmlns:a16="http://schemas.microsoft.com/office/drawing/2014/main" id="{7B2D4AD3-9C7E-4FBE-8EAA-28D4732D71C3}"/>
              </a:ext>
            </a:extLst>
          </p:cNvPr>
          <p:cNvSpPr>
            <a:spLocks/>
          </p:cNvSpPr>
          <p:nvPr/>
        </p:nvSpPr>
        <p:spPr>
          <a:xfrm>
            <a:off x="5351604" y="1583596"/>
            <a:ext cx="6153114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980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9</TotalTime>
  <Words>12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ie /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57</cp:revision>
  <dcterms:created xsi:type="dcterms:W3CDTF">2021-03-31T02:49:57Z</dcterms:created>
  <dcterms:modified xsi:type="dcterms:W3CDTF">2025-10-16T10:50:53Z</dcterms:modified>
  <cp:category/>
</cp:coreProperties>
</file>